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6" d="100"/>
          <a:sy n="86" d="100"/>
        </p:scale>
        <p:origin x="562" y="5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10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10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hyperlink" Target="https://github.com/amannepa/Case_Study_Deals_And_Coupons.git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youtu.be/5ZQu7BafcHY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endParaRPr lang="en-US" altLang="en-US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Deals and Coupons Finder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Completed end to end case study of Deals and Coupons Finder Application .There are Multiple Microservices. Implemented eureka server and  Spring cloud API Gateway. Front End </a:t>
            </a:r>
            <a:r>
              <a:rPr lang="en-IN" altLang="en-US" sz="1100">
                <a:latin typeface="Verdana" panose="020B0604030504040204" pitchFamily="34" charset="0"/>
                <a:ea typeface="Verdana" panose="020B0604030504040204" pitchFamily="34" charset="0"/>
              </a:rPr>
              <a:t>with Angular. </a:t>
            </a:r>
            <a:r>
              <a:rPr lang="en-IN" alt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Back End with MongoDB.</a:t>
            </a:r>
            <a:endParaRPr lang="en-US" altLang="nl-NL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b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Completed  the </a:t>
            </a:r>
            <a:r>
              <a:rPr lang="en-US" sz="1100" b="1" dirty="0" err="1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-Transform Java Full Stack Angular Training</a:t>
            </a:r>
            <a:endParaRPr lang="en-IN" altLang="nl-NL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76362"/>
            <a:ext cx="2374900" cy="198438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67770"/>
            <a:ext cx="3542655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amrutha.mannepalli@capgemini.com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836737"/>
            <a:ext cx="2382837" cy="263526"/>
          </a:xfrm>
        </p:spPr>
        <p:txBody>
          <a:bodyPr/>
          <a:lstStyle/>
          <a:p>
            <a:pPr eaLnBrk="1" hangingPunct="1"/>
            <a:r>
              <a:rPr lang="nl-NL" altLang="nl-NL" dirty="0"/>
              <a:t>+91 7780668727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HTML5, CSS3, Java</a:t>
            </a:r>
            <a:r>
              <a:rPr lang="en-US" sz="1100" b="1" dirty="0"/>
              <a:t> </a:t>
            </a:r>
            <a:r>
              <a:rPr lang="en-US" sz="1100" dirty="0"/>
              <a:t>script,</a:t>
            </a:r>
            <a:r>
              <a:rPr lang="en-US" sz="1100" b="1" dirty="0"/>
              <a:t> </a:t>
            </a:r>
            <a:r>
              <a:rPr lang="en-US" sz="1100" dirty="0"/>
              <a:t>ES6,</a:t>
            </a:r>
            <a:r>
              <a:rPr lang="en-US" sz="1100" b="1" dirty="0"/>
              <a:t>  </a:t>
            </a:r>
            <a:r>
              <a:rPr lang="en-US" sz="1100" dirty="0"/>
              <a:t>Angular. Hands on experience in creating microservices with Spring boot , Spring Security , Spring Cloud API Gateway , Eureka ser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Completed the training along with case study using Java Full Stack Angular as the Technolo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endParaRPr lang="en-US" sz="1100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2425" y="476672"/>
            <a:ext cx="2781300" cy="6222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          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    Information Technology:2017-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000" b="1" dirty="0">
                <a:solidFill>
                  <a:srgbClr val="0070AD"/>
                </a:solidFill>
              </a:rPr>
              <a:t>Skills</a:t>
            </a:r>
          </a:p>
          <a:p>
            <a:pPr>
              <a:lnSpc>
                <a:spcPct val="114000"/>
              </a:lnSpc>
            </a:pPr>
            <a:r>
              <a:rPr lang="en-US" altLang="nl-NL" sz="900" dirty="0"/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Sp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9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ngular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mponents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s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outing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rms &amp; Validation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sting using Jasmine &amp; Karma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ES6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Tool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 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Workaholi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Amrutha  </a:t>
            </a:r>
            <a:r>
              <a:rPr lang="en-IN" altLang="en-US" dirty="0" err="1"/>
              <a:t>Mannepalli</a:t>
            </a:r>
            <a:endParaRPr lang="en-IN" altLang="en-US" dirty="0"/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627313" y="6280150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4988" y="6402388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/>
              <a:t>Check out my work on GitHub &amp; Video Profile</a:t>
            </a:r>
          </a:p>
        </p:txBody>
      </p:sp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00" y="6280150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583" y="2100263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 descr="A person in a blue shirt&#10;&#10;Description automatically generated with low confidence">
            <a:extLst>
              <a:ext uri="{FF2B5EF4-FFF2-40B4-BE49-F238E27FC236}">
                <a16:creationId xmlns:a16="http://schemas.microsoft.com/office/drawing/2014/main" id="{0B6ABBE0-15C9-495D-B0BC-D2F706EF4B08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>
          <a:xfrm>
            <a:off x="299055" y="23287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3365</TotalTime>
  <Words>226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madhu vicky</cp:lastModifiedBy>
  <cp:revision>126</cp:revision>
  <dcterms:created xsi:type="dcterms:W3CDTF">2017-12-08T05:27:40Z</dcterms:created>
  <dcterms:modified xsi:type="dcterms:W3CDTF">2021-10-10T09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